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64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871076807177964E-2"/>
          <c:y val="0.11168769732724461"/>
          <c:w val="0.96052508475111475"/>
          <c:h val="0.815380355031391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0B-4970-8914-088B67661D9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0B-4970-8914-088B67661D9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0B-4970-8914-088B67661D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43437680"/>
        <c:axId val="1443438640"/>
      </c:barChart>
      <c:catAx>
        <c:axId val="1443437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438640"/>
        <c:crosses val="autoZero"/>
        <c:auto val="1"/>
        <c:lblAlgn val="ctr"/>
        <c:lblOffset val="100"/>
        <c:noMultiLvlLbl val="0"/>
      </c:catAx>
      <c:valAx>
        <c:axId val="14434386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437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6847434460265651"/>
          <c:y val="1.3220266182657398E-2"/>
          <c:w val="0.23152565539734346"/>
          <c:h val="6.12286986438629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F71EFD-DA36-F1A0-B50F-5078E44E88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E318A5A-6FC7-2ADE-EA19-DC850D67A0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318A5A-6FC7-2ADE-EA19-DC850D67A0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Chart Placeholder 16">
            <a:extLst>
              <a:ext uri="{FF2B5EF4-FFF2-40B4-BE49-F238E27FC236}">
                <a16:creationId xmlns:a16="http://schemas.microsoft.com/office/drawing/2014/main" id="{415ACE2D-F69F-21A6-9D62-F65082F83359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11083925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CFC5D12E-2C2B-5E5B-20D5-FF76DAAF94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ustered Column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9BFCF5-CF03-F435-5DA6-C6295B6A1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66FCB8FB-D486-1838-4C53-F17909163D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867533A-7EB0-0B6A-148C-FA6FFD6B2E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48309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9</TotalTime>
  <Words>15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Clustered Column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47</cp:revision>
  <dcterms:created xsi:type="dcterms:W3CDTF">2025-07-09T10:57:17Z</dcterms:created>
  <dcterms:modified xsi:type="dcterms:W3CDTF">2025-10-22T09:42:57Z</dcterms:modified>
  <cp:category/>
</cp:coreProperties>
</file>